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9"/>
  </p:notesMasterIdLst>
  <p:sldIdLst>
    <p:sldId id="281" r:id="rId5"/>
    <p:sldId id="259" r:id="rId6"/>
    <p:sldId id="2076137349" r:id="rId7"/>
    <p:sldId id="2147475255" r:id="rId8"/>
    <p:sldId id="2147475254" r:id="rId9"/>
    <p:sldId id="262" r:id="rId10"/>
    <p:sldId id="342" r:id="rId11"/>
    <p:sldId id="2147475257" r:id="rId12"/>
    <p:sldId id="332" r:id="rId13"/>
    <p:sldId id="330" r:id="rId14"/>
    <p:sldId id="333" r:id="rId15"/>
    <p:sldId id="334" r:id="rId16"/>
    <p:sldId id="335" r:id="rId17"/>
    <p:sldId id="337" r:id="rId18"/>
    <p:sldId id="338" r:id="rId19"/>
    <p:sldId id="339" r:id="rId20"/>
    <p:sldId id="327" r:id="rId21"/>
    <p:sldId id="340" r:id="rId22"/>
    <p:sldId id="341" r:id="rId23"/>
    <p:sldId id="328" r:id="rId24"/>
    <p:sldId id="321" r:id="rId25"/>
    <p:sldId id="2147475258" r:id="rId26"/>
    <p:sldId id="2147475256" r:id="rId27"/>
    <p:sldId id="260" r:id="rId28"/>
  </p:sldIdLst>
  <p:sldSz cx="12192000" cy="6858000"/>
  <p:notesSz cx="6858000" cy="9144000"/>
  <p:custDataLst>
    <p:custData r:id="rId2"/>
    <p:custData r:id="rId3"/>
    <p:custData r:id="rId1"/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78" autoAdjust="0"/>
    <p:restoredTop sz="74687" autoAdjust="0"/>
  </p:normalViewPr>
  <p:slideViewPr>
    <p:cSldViewPr snapToGrid="0" showGuides="1">
      <p:cViewPr varScale="1">
        <p:scale>
          <a:sx n="158" d="100"/>
          <a:sy n="158" d="100"/>
        </p:scale>
        <p:origin x="38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F1D1C-90D0-4F00-9BA3-077A17EF5B50}" type="datetimeFigureOut">
              <a:rPr lang="en-US"/>
              <a:t>10/1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BCB16-00DD-4F07-8367-2CC6834612C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200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Intro: Name and Professional Services</a:t>
            </a:r>
          </a:p>
          <a:p>
            <a:endParaRPr lang="en-DE" dirty="0"/>
          </a:p>
          <a:p>
            <a:r>
              <a:rPr lang="en-DE" dirty="0"/>
              <a:t>DevOps is not an “IF” anymore. </a:t>
            </a:r>
          </a:p>
          <a:p>
            <a:r>
              <a:rPr lang="en-DE" dirty="0"/>
              <a:t>Most Products comes with OOB capabilities for setting up DevOps.</a:t>
            </a:r>
          </a:p>
          <a:p>
            <a:r>
              <a:rPr lang="en-DE" dirty="0"/>
              <a:t>But the maturity &amp; complexity of DevOps framework depends on Organizations need.</a:t>
            </a:r>
          </a:p>
          <a:p>
            <a:endParaRPr lang="en-DE" dirty="0"/>
          </a:p>
          <a:p>
            <a:r>
              <a:rPr lang="en-DE" dirty="0"/>
              <a:t>webMethods. IO integration comes with api (and also cli), which I have used to show one of </a:t>
            </a:r>
            <a:r>
              <a:rPr lang="en-DE"/>
              <a:t>many Delivery workflow.</a:t>
            </a:r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744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Import/develop</a:t>
            </a:r>
          </a:p>
          <a:p>
            <a:pPr marL="685800" lvl="1" indent="-228600">
              <a:buAutoNum type="arabicPeriod"/>
            </a:pPr>
            <a:r>
              <a:rPr lang="en-DE" dirty="0"/>
              <a:t>WF</a:t>
            </a:r>
          </a:p>
          <a:p>
            <a:pPr marL="685800" lvl="1" indent="-228600">
              <a:buAutoNum type="arabicPeriod"/>
            </a:pPr>
            <a:r>
              <a:rPr lang="en-DE" dirty="0"/>
              <a:t>Flow</a:t>
            </a:r>
          </a:p>
          <a:p>
            <a:pPr marL="685800" lvl="1" indent="-228600">
              <a:buAutoNum type="arabicPeriod"/>
            </a:pPr>
            <a:r>
              <a:rPr lang="en-DE"/>
              <a:t>Ref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48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15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450"/>
              </a:spcAft>
            </a:pPr>
            <a:br>
              <a:rPr lang="en-GB" dirty="0"/>
            </a:br>
            <a:r>
              <a:rPr lang="en-US" b="1" dirty="0"/>
              <a:t>webMethods.io iPaaS is the only integration platform-as-a-service that delivers all required capabilities. </a:t>
            </a:r>
            <a:r>
              <a:rPr lang="en-US" b="0" dirty="0"/>
              <a:t>The u</a:t>
            </a:r>
            <a:r>
              <a:rPr lang="en-US" sz="1200" b="0" dirty="0"/>
              <a:t>nique </a:t>
            </a:r>
            <a:r>
              <a:rPr lang="en-US" sz="1200" dirty="0"/>
              <a:t>combination of API management, hybrid integration, application integration, data integration, microservices and IoT integration in one platform.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rket leader in API Management*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300+ field tested connectors to accelerate implementation without coding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only platform empowering you to integrate anything—anywher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Points: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Promotes accelerated integration for all types of users from technology professionals to empowered business analysts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mbines integration, API management, and B2B in the cloud and on premises; unified runtimes enable seamless integration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Delivers freedom to innovate with a standards-compliant independent platform</a:t>
            </a:r>
            <a:endParaRPr lang="en-GB" dirty="0"/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dirty="0"/>
            </a:b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439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a UI that developers fall in love with from the minute they start to use it due to its simplicity, ease of use, yet providing significant power!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Reliable Hybrid Connectivity</a:t>
            </a:r>
            <a:r>
              <a:rPr lang="en-GB" sz="1200" dirty="0"/>
              <a:t>: Manage hybrid portfolios with applications or data which are located both on-premises and in the cl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Extensive Connectivity Toolkit: </a:t>
            </a:r>
            <a:r>
              <a:rPr lang="en-GB" sz="1200" dirty="0"/>
              <a:t>Connectivity options for the most popular SaaS application and a workflow toolkit for every modern protocol or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Broad Developer Support</a:t>
            </a:r>
            <a:r>
              <a:rPr lang="en-GB" sz="1200" dirty="0"/>
              <a:t>: </a:t>
            </a:r>
            <a:r>
              <a:rPr lang="en-US" sz="1200" dirty="0"/>
              <a:t>Democratize your integration projects across the organization. Reduce your integration backlog by building intuitive workflows, quick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Optimized for Scale and Performance: </a:t>
            </a:r>
            <a:r>
              <a:rPr lang="en-US" sz="1200" dirty="0"/>
              <a:t>Performant service architecture ensures your most critical integration workflows run with confidence. With dependable monitoring and repor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39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97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7A522BD-4CB0-C14F-A17A-54A3924D19D2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ED6B2D-8D4C-4F72-B420-0F0444CCD4F7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1" name="Date Placeholder 8">
              <a:extLst>
                <a:ext uri="{FF2B5EF4-FFF2-40B4-BE49-F238E27FC236}">
                  <a16:creationId xmlns:a16="http://schemas.microsoft.com/office/drawing/2014/main" id="{ADB98197-3672-4367-A773-C09C7BCC63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EC8A25-6A9A-42F5-B840-4B6BDECE19A1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19704DC-2999-46BC-BFA3-F7F837D4EA6D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DF47084-4805-4BE3-B2A6-C788C9C3608D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29340AB-D70C-4955-9553-87C131E6A49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DA55C9F2-69BD-42EA-B936-BA9205A6B9E6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3381DAD-E257-4C59-930B-161FCFF5574E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F181E01-7375-4BD9-93C5-1EC3322C0EE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B203442-B466-4259-8ED9-9E88D4549593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D9086DB-B137-4F10-872A-0B43BC3534B8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12A49C27-61F6-4404-AD2B-075142645330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B2CE54B-0813-4850-9B17-8A4C6FC5D6A6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2779E56-031D-4707-88D0-9E956181793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BFF7729-7133-4970-A896-8D9C036CC2F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8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D9214C-C739-4412-9AA2-D3541ABCCB1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D54B44A8-1507-1B43-9E80-212D4B347049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1B785B-C9C3-4D45-8421-9748E72356D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4FC97-E9E5-4D00-938D-0C949C4DD0D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86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2554">
          <p15:clr>
            <a:srgbClr val="547EBF"/>
          </p15:clr>
        </p15:guide>
        <p15:guide id="8" pos="2677">
          <p15:clr>
            <a:srgbClr val="547EBF"/>
          </p15:clr>
        </p15:guide>
        <p15:guide id="9" pos="5003">
          <p15:clr>
            <a:srgbClr val="547EBF"/>
          </p15:clr>
        </p15:guide>
        <p15:guide id="10" pos="5126">
          <p15:clr>
            <a:srgbClr val="547EBF"/>
          </p15:clr>
        </p15:guide>
        <p15:guide id="11" orient="horz" pos="3874">
          <p15:clr>
            <a:srgbClr val="547EBF"/>
          </p15:clr>
        </p15:guide>
        <p15:guide id="12" orient="horz" pos="3997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2801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FC98E6-9128-4736-983A-6AA763A385E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5E8C5EF-E32A-C84F-9157-EA005E82E703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D8B0D-F44E-412A-B581-21795CC1A4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C68C4-31B7-4B22-BE58-67697FDF33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0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1942">
          <p15:clr>
            <a:srgbClr val="547EBF"/>
          </p15:clr>
        </p15:guide>
        <p15:guide id="8" pos="2064">
          <p15:clr>
            <a:srgbClr val="547EBF"/>
          </p15:clr>
        </p15:guide>
        <p15:guide id="9" pos="3779">
          <p15:clr>
            <a:srgbClr val="547EBF"/>
          </p15:clr>
        </p15:guide>
        <p15:guide id="10" pos="3901">
          <p15:clr>
            <a:srgbClr val="547EBF"/>
          </p15:clr>
        </p15:guide>
        <p15:guide id="11" pos="5616">
          <p15:clr>
            <a:srgbClr val="547EBF"/>
          </p15:clr>
        </p15:guide>
        <p15:guide id="12" pos="5738">
          <p15:clr>
            <a:srgbClr val="547EBF"/>
          </p15:clr>
        </p15:guide>
        <p15:guide id="13" orient="horz" pos="3874">
          <p15:clr>
            <a:srgbClr val="547EBF"/>
          </p15:clr>
        </p15:guide>
        <p15:guide id="14" orient="horz" pos="3997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BCA23D-685A-4A56-BF02-D1B28433F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8F41-154C-1640-A6F3-07D539F3BE85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7DB658-9AE4-4F44-9DEB-5E897E7A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CA47B40-711D-4456-8202-123DEAC0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53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39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74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orient="horz" pos="874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DFAF897-DF65-4A39-AD79-9594B3D4E98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89619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3D21FF-3078-44A2-B5F7-185C32E8F0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DBA1FDE-836C-3246-81F4-B580E9BF314B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6AB8FD-BEC4-4E50-B465-DB4BE4A7A34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784D1F-D548-4A0D-924A-AD5C0148F2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AEE5834D-03D7-444C-BCE1-1C130080741D}"/>
              </a:ext>
            </a:extLst>
          </p:cNvPr>
          <p:cNvSpPr txBox="1">
            <a:spLocks/>
          </p:cNvSpPr>
          <p:nvPr/>
        </p:nvSpPr>
        <p:spPr>
          <a:xfrm>
            <a:off x="10178400" y="6351918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10/10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E71BAFC0-28F1-4220-8D1D-4288FC9DD783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5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5C34C80-C2F9-4545-B7CF-646DB17E4A8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D28A3-0057-45C9-933E-F1F8E9007C18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A325C03-5A49-B048-ACF2-C98FEE65AF3B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3835C8-45A5-45C9-9339-AFD289290DD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1A0EC3-26A6-4C28-9EF5-65C8EDF8F42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285E683E-36BE-4472-867E-6657168BE1CA}"/>
              </a:ext>
            </a:extLst>
          </p:cNvPr>
          <p:cNvSpPr txBox="1">
            <a:spLocks/>
          </p:cNvSpPr>
          <p:nvPr/>
        </p:nvSpPr>
        <p:spPr>
          <a:xfrm>
            <a:off x="12142496" y="6817352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10/10/23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3AEA97AA-692E-4683-9EC6-282863D695B9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8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>
          <p15:clr>
            <a:srgbClr val="FFFF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&#10;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3DB05D-4AD4-4A0F-80D0-C27F0929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ED6A1-DA91-7E47-95E5-8058811B2299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A95A03A-C550-4EF8-9C11-CE4F0F3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45302F4-8D2D-4B2F-BFD7-4EA091DB1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9924C9-3E7F-4E60-ABD9-9DA79E2B571A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8" name="Date Placeholder 8">
              <a:extLst>
                <a:ext uri="{FF2B5EF4-FFF2-40B4-BE49-F238E27FC236}">
                  <a16:creationId xmlns:a16="http://schemas.microsoft.com/office/drawing/2014/main" id="{A56AC832-D5E5-459E-A74C-763D9FD9F0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BBBC5A2-7844-4EC7-99F1-2A1B0C9A806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9AA3258-0E88-4920-BB74-0EE684AF0A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121489E-DD05-4C53-9DC8-63B7606978BC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35D4D64-AA07-44C1-9C43-8A207E6FC19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C02E610-5C72-476D-AD18-136D54CCD9B8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478774F-E58D-40F5-81EC-25795E730B2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12B51C-1DC3-4040-82E8-EBB00CD95F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FF5AE7E4-8684-4724-87D2-6462421C89F4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B7D16D6-9CD5-4981-8118-07295C1C528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44564D0-8836-4E85-85B9-25B4A3B66E23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82D2409-E894-4290-A014-CF59547B8467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B49E7F3-0E47-48B4-B2D1-B0BF6377336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9764B68-44C1-4DF6-9563-74C0B661EE42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292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A4083-9B63-4A62-B4A9-566CC31C9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0BD37A-2913-8742-AF46-E9CC1AB42E89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21152F-7EAA-4403-92F8-059FCF067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AE91456-4515-4CBA-A20A-40E0D481B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8C83726-3D6D-4C46-A7DE-47DEBAF055B7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7" name="Date Placeholder 8">
              <a:extLst>
                <a:ext uri="{FF2B5EF4-FFF2-40B4-BE49-F238E27FC236}">
                  <a16:creationId xmlns:a16="http://schemas.microsoft.com/office/drawing/2014/main" id="{C94137F1-9E8E-4674-86B9-DD72527991A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8BA2E3-44FE-459D-99D0-1D9F6BF386A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271F76-CAA8-4911-BB11-761F98A7654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CBCCE5F-0059-47AB-86EA-41A4FA8D8A2A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18C457D-B27E-4929-8E41-6BC6E5D7BB4D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14DC750-E62B-45D7-A17D-7362AA907BB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2EC85C-E678-414A-A40C-64AEA685E8D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5770E9F-D01F-4072-A621-B4FAD68A93FD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A5D98C-7D3A-47FA-903D-5DB5C11DA30C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C93D8682-FC2E-4CFB-8D58-3760F3D2E23D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1EDDAF0-95CE-483D-B234-7073B299C56E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696631F-48C0-462A-989F-2B3F594C5B39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4CE9B2C-AF59-4DEA-911A-0B298DCA099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11FCC55-03D0-4EF6-9077-0CF3E058B9CC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623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G -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23 Software AG. All rights reserved.  </a:t>
            </a:r>
          </a:p>
        </p:txBody>
      </p:sp>
      <p:sp>
        <p:nvSpPr>
          <p:cNvPr id="5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527051" y="1509185"/>
            <a:ext cx="11137900" cy="4455583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2400"/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1867"/>
            </a:lvl3pPr>
            <a:lvl4pPr>
              <a:buClr>
                <a:schemeClr val="accent3"/>
              </a:buCl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172" y="749607"/>
            <a:ext cx="10963200" cy="585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933" cap="none" baseline="0"/>
            </a:lvl1pPr>
            <a:lvl2pPr>
              <a:defRPr sz="2933"/>
            </a:lvl2pPr>
            <a:lvl3pPr>
              <a:defRPr sz="2933"/>
            </a:lvl3pPr>
            <a:lvl4pPr>
              <a:defRPr sz="2933"/>
            </a:lvl4pPr>
            <a:lvl5pPr>
              <a:defRPr sz="2933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83514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7CD5C-00B9-478F-8031-ACE7B3DE2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62467"/>
            <a:ext cx="1161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2F82FC-C35F-46ED-AD87-89B2614658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© 2023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13FB6-9905-465B-9833-AF58E1A3D4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E75FA5-C509-4590-93CE-878685F65C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3F4E569-E7EF-4B7D-A893-F2E38E7A50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838128"/>
            <a:ext cx="11616000" cy="26434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906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8C2BE-BFFD-44FE-B91C-2F7619E5C9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6C116706-B439-D14C-B02C-EFC26461BDD8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6371E-9D17-4833-9D7C-91918309D1E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 dirty="0"/>
              <a:t>© 2023 Software AG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8C924-92B2-4D7E-98BF-44DF9DEF746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9464F3-59F2-4CAE-8832-5EE315CC0D24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A940C691-2570-4172-B700-44E3B95B6D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15C565-0794-4F11-B3E4-11D900876D6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63619E5-904B-4602-A812-EC1CB274C2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2CC646E-4A17-48E2-802C-76EC95C18DC2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19DB632-6E80-4AF6-B454-8B2A5370EFE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B737D10-FD12-4C0D-AB5B-7DB95F750F1B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FB01C06-8027-4FFE-89B7-7FCF10E5E4A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C12CBCC-61FB-4A50-AF22-5D80EF279D4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A99098-AE1D-4454-AA0A-EA7A867BA75E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062E073-A445-4E01-8F19-B156F8EBB10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675FE43-A9A2-4C84-91DB-3B0175858DAD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56904C-4966-4553-A01B-5D1BF776C05F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35B70E4-0D33-4030-B118-4FBE57767387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85E4C8D-B307-4203-9444-740633D248B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5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1_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DCA80DE-1B6C-BB44-A836-009C06A4FFF0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158ED9-7A79-4424-9274-92598FC16B7B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96F0F6FA-373E-4A47-81AC-194DCE35A5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172D8A0-9BC6-4D20-9398-223E179DD8E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D29E535-B8C3-447F-B091-C6E787D18142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732A30A-1E92-471E-A296-49BC85338296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6B08A38-9D68-4C96-BF03-FCF5F482E63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C7E29541-6B18-4DB6-9638-26B523EE766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98BE8DB7-79EE-4915-9A84-E74213DC9C5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3A38DA8-635E-40D2-A974-87859E318B00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0C3739D-29E2-446B-8282-40228EB6E145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23B3D26-779A-46EF-A03D-91182B40D709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5175015-355A-4231-A3FE-A1548BA4E655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8CE6C3-EBF3-41F2-B045-E9C1A225F1FC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5F1CDC7-73D7-4135-A63C-31D52AACA192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9153E24-462A-4AFB-B893-27AEC39B948E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482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B4863A1-A120-A246-A856-BFC43A0462C7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CA24CA-7FC1-4CC3-8F5E-996AF8BA148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76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07450-B80D-FE49-B970-4731A7163C6D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6879BB2-E118-44AA-8E66-B84B11065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3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332F08-FDC8-40F5-AC87-D1CEC5436A5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97BB353-01F3-AC41-BE81-3A621480861A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8F7F6-54CE-4A1B-99AC-A934BA75F98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71506-A838-42BE-8EC6-E5DA4E396B6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515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1364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BC6C70-F101-40CA-A6B2-7B3FC383C6D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3699EB27-0162-7441-973D-44FA86F888B7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E39B36-C6B0-4C48-99E1-7A5B820A470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99FFC-6F31-4CE1-B91F-5221729AB92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043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3">
          <p15:clr>
            <a:srgbClr val="547EBF"/>
          </p15:clr>
        </p15:guide>
        <p15:guide id="2" orient="horz" pos="262">
          <p15:clr>
            <a:srgbClr val="547EBF"/>
          </p15:clr>
        </p15:guide>
        <p15:guide id="3" orient="horz" pos="813">
          <p15:clr>
            <a:srgbClr val="547EBF"/>
          </p15:clr>
        </p15:guide>
        <p15:guide id="4" orient="horz" pos="1854">
          <p15:clr>
            <a:srgbClr val="547EBF"/>
          </p15:clr>
        </p15:guide>
        <p15:guide id="5" orient="horz" pos="2099">
          <p15:clr>
            <a:srgbClr val="547EBF"/>
          </p15:clr>
        </p15:guide>
        <p15:guide id="6" orient="horz" pos="2589">
          <p15:clr>
            <a:srgbClr val="547EBF"/>
          </p15:clr>
        </p15:guide>
        <p15:guide id="7" orient="horz" pos="2711">
          <p15:clr>
            <a:srgbClr val="547EBF"/>
          </p15:clr>
        </p15:guide>
        <p15:guide id="8" orient="horz" pos="3813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  <p15:guide id="11" pos="228">
          <p15:clr>
            <a:srgbClr val="547EBF"/>
          </p15:clr>
        </p15:guide>
        <p15:guide id="12" pos="2554">
          <p15:clr>
            <a:srgbClr val="547EBF"/>
          </p15:clr>
        </p15:guide>
        <p15:guide id="13" pos="2677">
          <p15:clr>
            <a:srgbClr val="547EBF"/>
          </p15:clr>
        </p15:guide>
        <p15:guide id="14" pos="5126">
          <p15:clr>
            <a:srgbClr val="547EBF"/>
          </p15:clr>
        </p15:guide>
        <p15:guide id="15" pos="7452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7905361-828B-4065-BD54-F5B2B537BD5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47FCC5B-D5A4-524C-B492-4BB809ED6346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EE3D50A-1389-4284-8526-35FDED147FC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95F8B6B-1A53-4209-A6BC-C2AC293C563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0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3813">
          <p15:clr>
            <a:srgbClr val="547EBF"/>
          </p15:clr>
        </p15:guide>
        <p15:guide id="3" pos="1942">
          <p15:clr>
            <a:srgbClr val="547EBF"/>
          </p15:clr>
        </p15:guide>
        <p15:guide id="4" pos="2064">
          <p15:clr>
            <a:srgbClr val="547EBF"/>
          </p15:clr>
        </p15:guide>
        <p15:guide id="5" pos="3779">
          <p15:clr>
            <a:srgbClr val="547EBF"/>
          </p15:clr>
        </p15:guide>
        <p15:guide id="6" pos="3901">
          <p15:clr>
            <a:srgbClr val="547EBF"/>
          </p15:clr>
        </p15:guide>
        <p15:guide id="7" pos="5738">
          <p15:clr>
            <a:srgbClr val="547EBF"/>
          </p15:clr>
        </p15:guide>
        <p15:guide id="8" pos="5616">
          <p15:clr>
            <a:srgbClr val="547EBF"/>
          </p15:clr>
        </p15:guide>
        <p15:guide id="9" pos="7452">
          <p15:clr>
            <a:srgbClr val="547EBF"/>
          </p15:clr>
        </p15:guide>
        <p15:guide id="10" orient="horz" pos="139">
          <p15:clr>
            <a:srgbClr val="547EBF"/>
          </p15:clr>
        </p15:guide>
        <p15:guide id="11" orient="horz" pos="446">
          <p15:clr>
            <a:srgbClr val="547EBF"/>
          </p15:clr>
        </p15:guide>
        <p15:guide id="12" orient="horz" pos="629">
          <p15:clr>
            <a:srgbClr val="547EBF"/>
          </p15:clr>
        </p15:guide>
        <p15:guide id="13" orient="horz" pos="874">
          <p15:clr>
            <a:srgbClr val="547EBF"/>
          </p15:clr>
        </p15:guide>
        <p15:guide id="14" orient="horz" pos="3874">
          <p15:clr>
            <a:srgbClr val="547EBF"/>
          </p15:clr>
        </p15:guide>
        <p15:guide id="15" orient="horz" pos="3997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8B11BC-6CA3-44AD-A5CF-FFDACBB5C2A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26A6BA6-5537-9F49-BE3F-ED7929E724E7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1F89D3-12CA-4686-94D2-CC317890BB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4C637D-CB79-4849-8B27-F6BEFF866F7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307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5.xml"/><Relationship Id="rId21" Type="http://schemas.openxmlformats.org/officeDocument/2006/relationships/customXml" Target="../../customXml/item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63" Type="http://schemas.openxmlformats.org/officeDocument/2006/relationships/tags" Target="../tags/tag42.xml"/><Relationship Id="rId68" Type="http://schemas.openxmlformats.org/officeDocument/2006/relationships/tags" Target="../tags/tag47.xml"/><Relationship Id="rId84" Type="http://schemas.openxmlformats.org/officeDocument/2006/relationships/tags" Target="../tags/tag63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53" Type="http://schemas.openxmlformats.org/officeDocument/2006/relationships/tags" Target="../tags/tag32.xml"/><Relationship Id="rId58" Type="http://schemas.openxmlformats.org/officeDocument/2006/relationships/tags" Target="../tags/tag37.xml"/><Relationship Id="rId74" Type="http://schemas.openxmlformats.org/officeDocument/2006/relationships/tags" Target="../tags/tag53.xml"/><Relationship Id="rId79" Type="http://schemas.openxmlformats.org/officeDocument/2006/relationships/tags" Target="../tags/tag58.xml"/><Relationship Id="rId5" Type="http://schemas.openxmlformats.org/officeDocument/2006/relationships/slideLayout" Target="../slideLayouts/slideLayout5.xml"/><Relationship Id="rId19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22" Type="http://schemas.openxmlformats.org/officeDocument/2006/relationships/customXml" Target="../../customXml/item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56" Type="http://schemas.openxmlformats.org/officeDocument/2006/relationships/tags" Target="../tags/tag35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77" Type="http://schemas.openxmlformats.org/officeDocument/2006/relationships/tags" Target="../tags/tag5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59" Type="http://schemas.openxmlformats.org/officeDocument/2006/relationships/tags" Target="../tags/tag38.xml"/><Relationship Id="rId67" Type="http://schemas.openxmlformats.org/officeDocument/2006/relationships/tags" Target="../tags/tag46.xml"/><Relationship Id="rId20" Type="http://schemas.openxmlformats.org/officeDocument/2006/relationships/customXml" Target="../../customXml/item2.xml"/><Relationship Id="rId41" Type="http://schemas.openxmlformats.org/officeDocument/2006/relationships/tags" Target="../tags/tag20.xml"/><Relationship Id="rId54" Type="http://schemas.openxmlformats.org/officeDocument/2006/relationships/tags" Target="../tags/tag33.xml"/><Relationship Id="rId62" Type="http://schemas.openxmlformats.org/officeDocument/2006/relationships/tags" Target="../tags/tag41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57" Type="http://schemas.openxmlformats.org/officeDocument/2006/relationships/tags" Target="../tags/tag3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52" Type="http://schemas.openxmlformats.org/officeDocument/2006/relationships/tags" Target="../tags/tag31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61" Type="http://schemas.openxmlformats.org/officeDocument/2006/relationships/tags" Target="../tags/tag40.xml"/><Relationship Id="rId82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roup 166">
            <a:extLst>
              <a:ext uri="{FF2B5EF4-FFF2-40B4-BE49-F238E27FC236}">
                <a16:creationId xmlns:a16="http://schemas.microsoft.com/office/drawing/2014/main" id="{572B2565-927F-4932-9373-D7D8E15A4E8C}"/>
              </a:ext>
            </a:extLst>
          </p:cNvPr>
          <p:cNvGrpSpPr/>
          <p:nvPr/>
        </p:nvGrpSpPr>
        <p:grpSpPr>
          <a:xfrm>
            <a:off x="10178400" y="6351918"/>
            <a:ext cx="1652360" cy="335529"/>
            <a:chOff x="10178400" y="6351918"/>
            <a:chExt cx="1652360" cy="335529"/>
          </a:xfrm>
        </p:grpSpPr>
        <p:sp>
          <p:nvSpPr>
            <p:cNvPr id="168" name="Date Placeholder 8">
              <a:extLst>
                <a:ext uri="{FF2B5EF4-FFF2-40B4-BE49-F238E27FC236}">
                  <a16:creationId xmlns:a16="http://schemas.microsoft.com/office/drawing/2014/main" id="{B5509778-274E-47A0-951A-7B17BBB4C7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10/10/23</a:t>
              </a:fld>
              <a:endParaRPr lang="en-US" dirty="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D23D12B-DB16-4677-908E-00598AEF0389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FA02A48D-7353-4D91-8A7B-4B6BD6F22735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9C5FE24-D935-426F-8C83-DA8660816199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30044ABF-8FE1-44FD-B6CB-1CDFE350D1B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D00999B-5F53-4FF2-98C8-DD3B7F3B87B4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B3DE679C-70DC-4247-A294-21C563F73BFF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A45E461-ACC3-487C-920B-0B7B61EC5C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37518CC7-5E1D-4916-B45E-E937315439EF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ED4B97B2-9959-4CB2-950C-3D04E712929C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954DF21-2A16-4E3F-9529-FE504F1FB1CB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80B925A3-36A6-4FB0-AB5A-BDD011D7AF1A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0AD4E60C-96B1-43ED-91BD-35882064091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CC97373-6CF6-4275-B6E0-7E080C8FF6A3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4A1C1022-82F3-7C4B-A1BE-194C10F219D6}" type="datetime1">
              <a:rPr lang="de-DE" smtClean="0"/>
              <a:t>10.10.23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>
            <p:custDataLst>
              <p:custData r:id="rId20"/>
              <p:custData r:id="rId21"/>
              <p:custData r:id="rId22"/>
              <p:tags r:id="rId23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4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6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7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8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9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0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1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2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3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4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5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6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7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8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9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0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1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2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3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4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5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6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7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8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5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28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29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0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1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2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3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4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5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6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7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8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9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0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1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2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3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4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5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6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7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8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9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0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1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2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3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4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5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6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7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8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9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0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1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2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3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4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5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6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>
            <p:custDataLst>
              <p:custData r:id="rId20"/>
              <p:custData r:id="rId21"/>
              <p:custData r:id="rId22"/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5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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00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.jp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webmethods.io/integration/apis/webmethods_api_ref/#reference-data-apis" TargetMode="External"/><Relationship Id="rId2" Type="http://schemas.openxmlformats.org/officeDocument/2006/relationships/hyperlink" Target="https://github.com/SoftwareAG/webmethods_io_int_cicd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hub.com/SoftwareAG/webmethods-io-integration-apicli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5.xml"/><Relationship Id="rId6" Type="http://schemas.openxmlformats.org/officeDocument/2006/relationships/image" Target="../media/image8.png"/><Relationship Id="rId11" Type="http://schemas.openxmlformats.org/officeDocument/2006/relationships/image" Target="../media/image13.gif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ulse-1" descr="Background pattern&#10;&#10;Description automatically generated">
            <a:extLst>
              <a:ext uri="{FF2B5EF4-FFF2-40B4-BE49-F238E27FC236}">
                <a16:creationId xmlns:a16="http://schemas.microsoft.com/office/drawing/2014/main" id="{0BE2E2B0-07C1-4D5E-985E-D2EDA1493565}"/>
              </a:ext>
            </a:extLst>
          </p:cNvPr>
          <p:cNvPicPr>
            <a:picLocks noGrp="1" noChangeAspect="1"/>
          </p:cNvPicPr>
          <p:nvPr>
            <p:ph type="pic" sz="quarter" idx="31"/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A44D963B-36F1-4D2F-8267-48A800EE93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DE" dirty="0"/>
              <a:t>DevOps 4 webMethods.io Integratio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01D525-322D-4FA5-BD12-414139DAEB02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/>
              <a:t>Srinivasan Sabapathy, Senior </a:t>
            </a:r>
            <a:r>
              <a:rPr lang="de-DE" dirty="0" err="1"/>
              <a:t>Principal</a:t>
            </a:r>
            <a:r>
              <a:rPr lang="de-DE" dirty="0"/>
              <a:t> Consultant, Professional Services | Austria | </a:t>
            </a:r>
            <a:r>
              <a:rPr lang="de-DE" dirty="0" err="1"/>
              <a:t>October</a:t>
            </a:r>
            <a:r>
              <a:rPr lang="de-DE" dirty="0"/>
              <a:t> 16 2023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3A43D4E3-C528-46D8-BD78-6B54A249678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50A323F-26A1-47A2-B400-AA8D3FDB877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C36D1970-CA1C-4ED4-ABDF-8F0801765A9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8383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677307"/>
            <a:ext cx="11468100" cy="208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9" y="1142151"/>
            <a:ext cx="11801772" cy="515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8044"/>
            <a:ext cx="6025813" cy="1052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" y="3528863"/>
            <a:ext cx="6190061" cy="192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6" y="1565055"/>
            <a:ext cx="6157879" cy="16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646" y="2476206"/>
            <a:ext cx="6145353" cy="147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7"/>
            <a:ext cx="5830083" cy="5269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426" y="3884341"/>
            <a:ext cx="6275574" cy="16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Show &amp; Tell / Dem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3 Software AG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E07076-B6B0-942B-2733-8E6B5608D75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718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623" y="3275437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3611" y="1211171"/>
            <a:ext cx="1848112" cy="206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FF7AC6-E695-F790-D6F0-B9DC78B7DD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362034" y="1391985"/>
            <a:ext cx="11467266" cy="466115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</a:t>
            </a:r>
            <a:r>
              <a:rPr lang="en-GB" dirty="0" err="1"/>
              <a:t>webMethods.io</a:t>
            </a:r>
            <a:r>
              <a:rPr lang="en-GB" dirty="0"/>
              <a:t> IPaa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Contex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Use case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b="1" dirty="0"/>
          </a:p>
          <a:p>
            <a:endParaRPr lang="en-GB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975" y="1766384"/>
            <a:ext cx="2681717" cy="268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3 Software AG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2A3B8E-6307-DA24-5F35-A8DCC6076A9F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779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ore connector tes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DevO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Projec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Accoun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Direct Git Integration (Origin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ultiple runtime support (Origin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46919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08500-5F7E-77ED-9190-5F67A1448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feren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2EEC4-EDF4-32FB-C153-580F215B4BC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3D6D2E-F8C1-C8B7-69BC-083FB1C67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29A10-DA97-3814-9652-53A5D5609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A60C20-68F3-AD76-E1E7-2A56DE2965BC}"/>
              </a:ext>
            </a:extLst>
          </p:cNvPr>
          <p:cNvSpPr txBox="1"/>
          <p:nvPr/>
        </p:nvSpPr>
        <p:spPr>
          <a:xfrm>
            <a:off x="1092200" y="1769533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 defTabSz="972000">
              <a:lnSpc>
                <a:spcPct val="120000"/>
              </a:lnSpc>
              <a:spcAft>
                <a:spcPts val="765"/>
              </a:spcAft>
              <a:buFont typeface="Wingdings" pitchFamily="2" charset="2"/>
              <a:buChar char="ü"/>
            </a:pPr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69D34-8C89-241E-01D9-28D8C32D0537}"/>
              </a:ext>
            </a:extLst>
          </p:cNvPr>
          <p:cNvSpPr txBox="1"/>
          <p:nvPr/>
        </p:nvSpPr>
        <p:spPr>
          <a:xfrm>
            <a:off x="550333" y="1439333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588EF-4DAF-1DAF-732B-250E6A198BDB}"/>
              </a:ext>
            </a:extLst>
          </p:cNvPr>
          <p:cNvSpPr txBox="1"/>
          <p:nvPr/>
        </p:nvSpPr>
        <p:spPr>
          <a:xfrm>
            <a:off x="516467" y="1651000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16697D1-0923-B71B-8A18-8DAECB3FBD2F}"/>
              </a:ext>
            </a:extLst>
          </p:cNvPr>
          <p:cNvSpPr txBox="1">
            <a:spLocks/>
          </p:cNvSpPr>
          <p:nvPr/>
        </p:nvSpPr>
        <p:spPr>
          <a:xfrm>
            <a:off x="361200" y="1387800"/>
            <a:ext cx="11468100" cy="466566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pository for automation, scripts &amp; sample assets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github.com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SoftwareAG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webmethods_io_int_cicd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PI Documentation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docs.webmethods.io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integration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webmethods_api_ref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#reference-data-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I Repository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github.com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SoftwareAG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-io-integration-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apicli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dirty="0"/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427586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74C089-FDD4-74B0-F08B-4905ED41F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E5BE17-2264-AC90-180D-D0CE207B5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73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C4B561-BB45-3440-AD3D-C0A7B796C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Pa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7C3F3-FBF8-1442-A702-6E1A0A9AC3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tegration, B2B, MFT and API Managemen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0552AF-8BB8-E541-8E36-099062F7FCAF}"/>
              </a:ext>
            </a:extLst>
          </p:cNvPr>
          <p:cNvGrpSpPr/>
          <p:nvPr/>
        </p:nvGrpSpPr>
        <p:grpSpPr>
          <a:xfrm>
            <a:off x="-11617" y="2027376"/>
            <a:ext cx="12203617" cy="3495317"/>
            <a:chOff x="-8713" y="1533302"/>
            <a:chExt cx="9152713" cy="2621488"/>
          </a:xfrm>
          <a:solidFill>
            <a:schemeClr val="tx2"/>
          </a:solidFill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7B946B7-B54C-604D-A438-C66C611517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7ACD6BB-682A-214E-96D3-4B2B39916D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34438"/>
              <a:ext cx="5007430" cy="2620352"/>
            </a:xfrm>
            <a:prstGeom prst="rect">
              <a:avLst/>
            </a:prstGeom>
            <a:grpFill/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37E1904-55D8-B349-A581-AA99F674A005}"/>
              </a:ext>
            </a:extLst>
          </p:cNvPr>
          <p:cNvGrpSpPr/>
          <p:nvPr/>
        </p:nvGrpSpPr>
        <p:grpSpPr>
          <a:xfrm>
            <a:off x="5071873" y="2276534"/>
            <a:ext cx="6414755" cy="3081319"/>
            <a:chOff x="5300318" y="1296814"/>
            <a:chExt cx="3981015" cy="2213314"/>
          </a:xfrm>
          <a:solidFill>
            <a:schemeClr val="bg2"/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ADFE78B6-6D78-3246-B392-FFA3C0BBF6E9}"/>
                </a:ext>
              </a:extLst>
            </p:cNvPr>
            <p:cNvSpPr/>
            <p:nvPr/>
          </p:nvSpPr>
          <p:spPr>
            <a:xfrm>
              <a:off x="5667146" y="2753833"/>
              <a:ext cx="3248241" cy="754912"/>
            </a:xfrm>
            <a:prstGeom prst="roundRect">
              <a:avLst>
                <a:gd name="adj" fmla="val 485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076754B-A853-8B47-862F-85E28440E949}"/>
                </a:ext>
              </a:extLst>
            </p:cNvPr>
            <p:cNvSpPr/>
            <p:nvPr/>
          </p:nvSpPr>
          <p:spPr>
            <a:xfrm>
              <a:off x="5300318" y="2181709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63D6640-82D1-7F45-B833-A91CB1041F9A}"/>
                </a:ext>
              </a:extLst>
            </p:cNvPr>
            <p:cNvSpPr/>
            <p:nvPr/>
          </p:nvSpPr>
          <p:spPr>
            <a:xfrm>
              <a:off x="5971341" y="1296814"/>
              <a:ext cx="2037141" cy="212641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A43C967-0B26-C042-A08B-7EC316F7A2C7}"/>
                </a:ext>
              </a:extLst>
            </p:cNvPr>
            <p:cNvSpPr/>
            <p:nvPr/>
          </p:nvSpPr>
          <p:spPr>
            <a:xfrm>
              <a:off x="8021364" y="2194944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BFEC1BC-C7B2-F04F-A2A6-9A2D6E30E96A}"/>
                </a:ext>
              </a:extLst>
            </p:cNvPr>
            <p:cNvSpPr/>
            <p:nvPr/>
          </p:nvSpPr>
          <p:spPr>
            <a:xfrm>
              <a:off x="7285159" y="1877432"/>
              <a:ext cx="1394346" cy="13806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B6DFDF0-A680-A748-B0B0-0BFC8C2D5276}"/>
              </a:ext>
            </a:extLst>
          </p:cNvPr>
          <p:cNvSpPr txBox="1"/>
          <p:nvPr/>
        </p:nvSpPr>
        <p:spPr>
          <a:xfrm>
            <a:off x="1314966" y="2534077"/>
            <a:ext cx="4015523" cy="410433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377">
              <a:spcBef>
                <a:spcPts val="576"/>
              </a:spcBef>
              <a:buClr>
                <a:prstClr val="white">
                  <a:lumMod val="50000"/>
                </a:prstClr>
              </a:buClr>
              <a:defRPr/>
            </a:pPr>
            <a:r>
              <a:rPr lang="en-US" sz="2667" b="1">
                <a:solidFill>
                  <a:prstClr val="white"/>
                </a:solidFill>
                <a:latin typeface="Rubik"/>
              </a:rPr>
              <a:t>MULTI-FUNCTION iPa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C9A8E3-40F0-2446-8ECF-684CBE878401}"/>
              </a:ext>
            </a:extLst>
          </p:cNvPr>
          <p:cNvSpPr/>
          <p:nvPr/>
        </p:nvSpPr>
        <p:spPr>
          <a:xfrm>
            <a:off x="1318202" y="3017257"/>
            <a:ext cx="3824765" cy="41024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377">
              <a:spcBef>
                <a:spcPts val="576"/>
              </a:spcBef>
              <a:buClr>
                <a:prstClr val="white"/>
              </a:buClr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for LOW-CODE and HIGH-CONTROL developers </a:t>
            </a:r>
            <a:br>
              <a:rPr lang="en-US" sz="1333">
                <a:solidFill>
                  <a:prstClr val="white"/>
                </a:solidFill>
                <a:latin typeface="Rubik"/>
              </a:rPr>
            </a:br>
            <a:r>
              <a:rPr lang="en-US" sz="1333">
                <a:solidFill>
                  <a:prstClr val="white"/>
                </a:solidFill>
                <a:latin typeface="Rubik"/>
              </a:rPr>
              <a:t>deployed across a MULTI-CLOUD infrastructure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1B0CDE-A670-8343-B9AB-68524B9AE005}"/>
              </a:ext>
            </a:extLst>
          </p:cNvPr>
          <p:cNvSpPr txBox="1"/>
          <p:nvPr/>
        </p:nvSpPr>
        <p:spPr>
          <a:xfrm>
            <a:off x="1390121" y="3663792"/>
            <a:ext cx="2656176" cy="161544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Cloud and Hybrid Connectivity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Orchestration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Guided development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Recipes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Monitoring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prstClr val="white"/>
              </a:solidFill>
              <a:latin typeface="Rubik"/>
            </a:endParaRPr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0E1D1CCE-E596-144A-A483-3E5721CCF269}"/>
              </a:ext>
            </a:extLst>
          </p:cNvPr>
          <p:cNvSpPr/>
          <p:nvPr/>
        </p:nvSpPr>
        <p:spPr>
          <a:xfrm>
            <a:off x="6195831" y="3051133"/>
            <a:ext cx="3641852" cy="1465943"/>
          </a:xfrm>
          <a:prstGeom prst="triangle">
            <a:avLst>
              <a:gd name="adj" fmla="val 50692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endParaRPr lang="en-US" sz="1867" b="1">
              <a:solidFill>
                <a:prstClr val="white"/>
              </a:solidFill>
              <a:latin typeface="Rubik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9B1B3D6-0E9B-954C-92A2-DF7C3FC9FF4A}"/>
              </a:ext>
            </a:extLst>
          </p:cNvPr>
          <p:cNvGrpSpPr/>
          <p:nvPr/>
        </p:nvGrpSpPr>
        <p:grpSpPr>
          <a:xfrm>
            <a:off x="5903879" y="3678576"/>
            <a:ext cx="992576" cy="992576"/>
            <a:chOff x="229132" y="1797750"/>
            <a:chExt cx="1548000" cy="1548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210108-5C27-9F4A-91F7-2D9A0FC0F8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8328D16-7A18-CD47-A7BC-695D6DB6C7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>
                  <a:solidFill>
                    <a:prstClr val="white"/>
                  </a:solidFill>
                  <a:latin typeface="Rubik"/>
                </a:rPr>
                <a:t>B2B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85232D-98C9-2E4A-BCA1-BF9F17955D39}"/>
              </a:ext>
            </a:extLst>
          </p:cNvPr>
          <p:cNvGrpSpPr/>
          <p:nvPr/>
        </p:nvGrpSpPr>
        <p:grpSpPr>
          <a:xfrm>
            <a:off x="7520468" y="2536887"/>
            <a:ext cx="992576" cy="992576"/>
            <a:chOff x="229132" y="1797750"/>
            <a:chExt cx="1548000" cy="1548000"/>
          </a:xfrm>
          <a:solidFill>
            <a:schemeClr val="accent2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3E4BAA9-AE0B-944A-B827-52A126B926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1E723DE-2BBA-CE42-9D5A-E7CFFBFB37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 dirty="0">
                  <a:solidFill>
                    <a:prstClr val="white"/>
                  </a:solidFill>
                  <a:latin typeface="Rubik"/>
                </a:rPr>
                <a:t>API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3862317-67F4-0B48-8630-2FC9F1137D63}"/>
              </a:ext>
            </a:extLst>
          </p:cNvPr>
          <p:cNvGrpSpPr/>
          <p:nvPr/>
        </p:nvGrpSpPr>
        <p:grpSpPr>
          <a:xfrm>
            <a:off x="9153939" y="3667492"/>
            <a:ext cx="992576" cy="992576"/>
            <a:chOff x="229132" y="1797750"/>
            <a:chExt cx="1548000" cy="154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4BB6742-E218-E746-80AB-0B718006A7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2758893-B4C5-C445-860A-AEF48073F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 dirty="0">
                  <a:solidFill>
                    <a:prstClr val="white"/>
                  </a:solidFill>
                  <a:latin typeface="Rubik"/>
                </a:rPr>
                <a:t>MFT</a:t>
              </a:r>
            </a:p>
          </p:txBody>
        </p:sp>
      </p:grp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3D99E14E-2F6F-1643-92F4-8A5D391113E1}"/>
              </a:ext>
            </a:extLst>
          </p:cNvPr>
          <p:cNvSpPr/>
          <p:nvPr/>
        </p:nvSpPr>
        <p:spPr>
          <a:xfrm>
            <a:off x="6984496" y="3730961"/>
            <a:ext cx="2064000" cy="56920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endParaRPr lang="en-US" sz="1867" b="1">
              <a:solidFill>
                <a:prstClr val="white"/>
              </a:solidFill>
              <a:latin typeface="Rubik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82A4502-7720-384F-94F5-B5494A3FC557}"/>
              </a:ext>
            </a:extLst>
          </p:cNvPr>
          <p:cNvSpPr/>
          <p:nvPr/>
        </p:nvSpPr>
        <p:spPr>
          <a:xfrm>
            <a:off x="7043350" y="3775035"/>
            <a:ext cx="1946815" cy="47177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r>
              <a:rPr lang="en-US" sz="1867" b="1">
                <a:solidFill>
                  <a:prstClr val="white"/>
                </a:solidFill>
                <a:latin typeface="Rubik"/>
              </a:rPr>
              <a:t>INTEGRA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89826CA-B69E-1D49-A927-1092EEE83A4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77">
              <a:spcBef>
                <a:spcPts val="400"/>
              </a:spcBef>
              <a:defRPr/>
            </a:pPr>
            <a:r>
              <a:rPr lang="en-US" dirty="0">
                <a:solidFill>
                  <a:prstClr val="white">
                    <a:lumMod val="65000"/>
                  </a:prstClr>
                </a:solidFill>
                <a:latin typeface="Rubik"/>
              </a:rPr>
              <a:t>© 2023 Software AG. All rights reserved. </a:t>
            </a:r>
          </a:p>
        </p:txBody>
      </p:sp>
      <p:pic>
        <p:nvPicPr>
          <p:cNvPr id="48" name="Picture 9">
            <a:extLst>
              <a:ext uri="{FF2B5EF4-FFF2-40B4-BE49-F238E27FC236}">
                <a16:creationId xmlns:a16="http://schemas.microsoft.com/office/drawing/2014/main" id="{24082416-58EA-994E-80D1-7F48B35D1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461" y="4882568"/>
            <a:ext cx="4070431" cy="275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856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>
            <a:extLst>
              <a:ext uri="{FF2B5EF4-FFF2-40B4-BE49-F238E27FC236}">
                <a16:creationId xmlns:a16="http://schemas.microsoft.com/office/drawing/2014/main" id="{866F270E-78F3-EB4D-AE93-AAC30AC96C1E}"/>
              </a:ext>
            </a:extLst>
          </p:cNvPr>
          <p:cNvGrpSpPr/>
          <p:nvPr/>
        </p:nvGrpSpPr>
        <p:grpSpPr>
          <a:xfrm>
            <a:off x="-11617" y="1958247"/>
            <a:ext cx="12203617" cy="3805247"/>
            <a:chOff x="-8713" y="1527876"/>
            <a:chExt cx="9152713" cy="2628050"/>
          </a:xfrm>
          <a:solidFill>
            <a:schemeClr val="accent4"/>
          </a:solidFill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389AFD8D-93EF-D94D-8FE3-B3A6DDE1F4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92C7737-F991-CC40-AEBA-BA663423B1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27876"/>
              <a:ext cx="5007430" cy="2628050"/>
            </a:xfrm>
            <a:prstGeom prst="rect">
              <a:avLst/>
            </a:prstGeom>
            <a:grpFill/>
          </p:spPr>
        </p:pic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0E7BF0C4-375E-AB41-BBED-10DD527B0BD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1115" y="1714648"/>
            <a:ext cx="7829772" cy="4628265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AF4C1BD4-7712-D349-AD2B-902E4CA759FD}"/>
              </a:ext>
            </a:extLst>
          </p:cNvPr>
          <p:cNvSpPr/>
          <p:nvPr/>
        </p:nvSpPr>
        <p:spPr>
          <a:xfrm>
            <a:off x="9065342" y="3162512"/>
            <a:ext cx="2976236" cy="5025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lvl="1" algn="ctr" defTabSz="914377">
              <a:spcBef>
                <a:spcPts val="576"/>
              </a:spcBef>
              <a:buClr>
                <a:srgbClr val="011F3D"/>
              </a:buClr>
            </a:pPr>
            <a:r>
              <a:rPr lang="en-US" sz="1333" dirty="0">
                <a:solidFill>
                  <a:srgbClr val="FFFFFF"/>
                </a:solidFill>
                <a:latin typeface="Rubik"/>
              </a:rPr>
              <a:t>Extensive </a:t>
            </a:r>
            <a:br>
              <a:rPr lang="en-US" sz="1333" dirty="0">
                <a:solidFill>
                  <a:srgbClr val="FFFFFF"/>
                </a:solidFill>
                <a:latin typeface="Rubik"/>
              </a:rPr>
            </a:br>
            <a:r>
              <a:rPr lang="en-US" sz="1333" dirty="0">
                <a:solidFill>
                  <a:srgbClr val="FFFFFF"/>
                </a:solidFill>
                <a:latin typeface="Rubik"/>
              </a:rPr>
              <a:t>Connectivity Toolki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BD31DFF-2DE0-1D4A-A9D0-7F5A6C859522}"/>
              </a:ext>
            </a:extLst>
          </p:cNvPr>
          <p:cNvSpPr/>
          <p:nvPr/>
        </p:nvSpPr>
        <p:spPr>
          <a:xfrm>
            <a:off x="9422696" y="5003205"/>
            <a:ext cx="225665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Optimized for </a:t>
            </a:r>
            <a:br>
              <a:rPr lang="en-US" sz="1333">
                <a:solidFill>
                  <a:srgbClr val="FFFFFF"/>
                </a:solidFill>
                <a:latin typeface="Rubik"/>
              </a:rPr>
            </a:br>
            <a:r>
              <a:rPr lang="en-US" sz="1333">
                <a:solidFill>
                  <a:srgbClr val="FFFFFF"/>
                </a:solidFill>
                <a:latin typeface="Rubik"/>
              </a:rPr>
              <a:t>Scale and Performanc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1DF23EB-BC5E-5D42-997C-77B392D5C172}"/>
              </a:ext>
            </a:extLst>
          </p:cNvPr>
          <p:cNvSpPr/>
          <p:nvPr/>
        </p:nvSpPr>
        <p:spPr>
          <a:xfrm>
            <a:off x="10070328" y="4036899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pic>
        <p:nvPicPr>
          <p:cNvPr id="31" name="Picture 30" descr="Icons_Settings06.png">
            <a:extLst>
              <a:ext uri="{FF2B5EF4-FFF2-40B4-BE49-F238E27FC236}">
                <a16:creationId xmlns:a16="http://schemas.microsoft.com/office/drawing/2014/main" id="{3FF82CCC-DF96-B943-ABFE-C70F51CAF2C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5844" y="4194182"/>
            <a:ext cx="630357" cy="63035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ntegr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>
              <a:spcBef>
                <a:spcPts val="400"/>
              </a:spcBef>
            </a:pPr>
            <a:r>
              <a:rPr lang="en-GB" dirty="0">
                <a:solidFill>
                  <a:srgbClr val="011F3D"/>
                </a:solidFill>
                <a:latin typeface="Rubik"/>
              </a:rPr>
              <a:t>© 2023 Software AG. All rights reserved. </a:t>
            </a:r>
            <a:endParaRPr lang="en-US" dirty="0">
              <a:solidFill>
                <a:srgbClr val="011F3D"/>
              </a:solidFill>
              <a:latin typeface="Rubik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667" dirty="0"/>
              <a:t>Quickly integrate applications in the cloud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C49B03B-2181-4447-92FA-F70023C33B42}"/>
              </a:ext>
            </a:extLst>
          </p:cNvPr>
          <p:cNvSpPr/>
          <p:nvPr/>
        </p:nvSpPr>
        <p:spPr>
          <a:xfrm>
            <a:off x="10070328" y="2206897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8276EDE-61DC-CC49-B925-A269A71EE8A3}"/>
              </a:ext>
            </a:extLst>
          </p:cNvPr>
          <p:cNvSpPr/>
          <p:nvPr/>
        </p:nvSpPr>
        <p:spPr>
          <a:xfrm>
            <a:off x="557673" y="5003206"/>
            <a:ext cx="2256657" cy="553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Broad </a:t>
            </a:r>
          </a:p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Developer Support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0BBC99F1-9797-B146-8F24-BE7F99F11EA6}"/>
              </a:ext>
            </a:extLst>
          </p:cNvPr>
          <p:cNvSpPr/>
          <p:nvPr/>
        </p:nvSpPr>
        <p:spPr>
          <a:xfrm>
            <a:off x="1205306" y="4036899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F6DF06F-F8E9-6544-9CCB-FF2A7469801E}"/>
              </a:ext>
            </a:extLst>
          </p:cNvPr>
          <p:cNvSpPr/>
          <p:nvPr/>
        </p:nvSpPr>
        <p:spPr>
          <a:xfrm>
            <a:off x="1205306" y="2206897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E0E8C6-8BF5-124D-AEB4-01AE43180B82}"/>
              </a:ext>
            </a:extLst>
          </p:cNvPr>
          <p:cNvSpPr/>
          <p:nvPr/>
        </p:nvSpPr>
        <p:spPr>
          <a:xfrm>
            <a:off x="557673" y="3141699"/>
            <a:ext cx="2211633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14377">
              <a:spcBef>
                <a:spcPts val="576"/>
              </a:spcBef>
              <a:buClr>
                <a:srgbClr val="011F3D"/>
              </a:buClr>
            </a:pPr>
            <a:r>
              <a:rPr lang="en-US" sz="1333" dirty="0">
                <a:solidFill>
                  <a:srgbClr val="FFFFFF"/>
                </a:solidFill>
                <a:latin typeface="Rubik"/>
              </a:rPr>
              <a:t>Rapid </a:t>
            </a:r>
            <a:br>
              <a:rPr lang="en-US" sz="1333" dirty="0">
                <a:solidFill>
                  <a:srgbClr val="011F3D"/>
                </a:solidFill>
                <a:latin typeface="Rubik"/>
              </a:rPr>
            </a:br>
            <a:r>
              <a:rPr lang="en-US" sz="1333" dirty="0">
                <a:solidFill>
                  <a:srgbClr val="FFFFFF"/>
                </a:solidFill>
                <a:latin typeface="Rubik"/>
              </a:rPr>
              <a:t>Workflow Development</a:t>
            </a:r>
          </a:p>
        </p:txBody>
      </p:sp>
      <p:pic>
        <p:nvPicPr>
          <p:cNvPr id="43" name="Grafik 17">
            <a:extLst>
              <a:ext uri="{FF2B5EF4-FFF2-40B4-BE49-F238E27FC236}">
                <a16:creationId xmlns:a16="http://schemas.microsoft.com/office/drawing/2014/main" id="{0E5987E1-6211-C645-BA89-581C297555B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0049" y="4194182"/>
            <a:ext cx="633049" cy="633049"/>
          </a:xfrm>
          <a:prstGeom prst="rect">
            <a:avLst/>
          </a:prstGeom>
        </p:spPr>
      </p:pic>
      <p:pic>
        <p:nvPicPr>
          <p:cNvPr id="46" name="Grafik 408">
            <a:extLst>
              <a:ext uri="{FF2B5EF4-FFF2-40B4-BE49-F238E27FC236}">
                <a16:creationId xmlns:a16="http://schemas.microsoft.com/office/drawing/2014/main" id="{8D462878-EC9C-D440-8FDF-54E70D8B0A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2375" y="2336418"/>
            <a:ext cx="644269" cy="6756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5E5C0E-F0AA-6B45-8F31-686455C92C46}"/>
              </a:ext>
            </a:extLst>
          </p:cNvPr>
          <p:cNvSpPr/>
          <p:nvPr/>
        </p:nvSpPr>
        <p:spPr>
          <a:xfrm>
            <a:off x="3200373" y="2925841"/>
            <a:ext cx="4287692" cy="23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en-US" sz="1867" b="1">
              <a:solidFill>
                <a:srgbClr val="FFFFFF"/>
              </a:solidFill>
              <a:latin typeface="Rubik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A20331-A841-0F4B-BB3C-A98A4526672B}"/>
              </a:ext>
            </a:extLst>
          </p:cNvPr>
          <p:cNvGrpSpPr/>
          <p:nvPr/>
        </p:nvGrpSpPr>
        <p:grpSpPr>
          <a:xfrm>
            <a:off x="1312646" y="2468412"/>
            <a:ext cx="746708" cy="415037"/>
            <a:chOff x="2408084" y="1524658"/>
            <a:chExt cx="1111615" cy="48256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F554958-FD5D-B249-9627-85B50ED2327C}"/>
                </a:ext>
              </a:extLst>
            </p:cNvPr>
            <p:cNvSpPr/>
            <p:nvPr/>
          </p:nvSpPr>
          <p:spPr>
            <a:xfrm>
              <a:off x="2408084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E82CE9-69E7-C448-870F-4994CAF31BFE}"/>
                </a:ext>
              </a:extLst>
            </p:cNvPr>
            <p:cNvSpPr/>
            <p:nvPr/>
          </p:nvSpPr>
          <p:spPr>
            <a:xfrm>
              <a:off x="2553366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C48EBC-4A16-7A4E-A956-14922CC222D1}"/>
                </a:ext>
              </a:extLst>
            </p:cNvPr>
            <p:cNvSpPr/>
            <p:nvPr/>
          </p:nvSpPr>
          <p:spPr>
            <a:xfrm>
              <a:off x="2552480" y="1524658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BC3D08-1AD9-F743-B1AC-7378D2C7887F}"/>
                </a:ext>
              </a:extLst>
            </p:cNvPr>
            <p:cNvSpPr/>
            <p:nvPr/>
          </p:nvSpPr>
          <p:spPr>
            <a:xfrm>
              <a:off x="3005177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E3BCB7-A4E4-1A4F-AE9C-E51471C65C00}"/>
                </a:ext>
              </a:extLst>
            </p:cNvPr>
            <p:cNvSpPr/>
            <p:nvPr/>
          </p:nvSpPr>
          <p:spPr>
            <a:xfrm>
              <a:off x="2785701" y="1892883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05AE3F-564F-124F-ABC0-28DD15C4A3AD}"/>
                </a:ext>
              </a:extLst>
            </p:cNvPr>
            <p:cNvSpPr/>
            <p:nvPr/>
          </p:nvSpPr>
          <p:spPr>
            <a:xfrm>
              <a:off x="3430782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6" name="Diamond 35">
              <a:extLst>
                <a:ext uri="{FF2B5EF4-FFF2-40B4-BE49-F238E27FC236}">
                  <a16:creationId xmlns:a16="http://schemas.microsoft.com/office/drawing/2014/main" id="{8B1D5ABA-4088-E64E-AD44-2C3260BD9061}"/>
                </a:ext>
              </a:extLst>
            </p:cNvPr>
            <p:cNvSpPr/>
            <p:nvPr/>
          </p:nvSpPr>
          <p:spPr>
            <a:xfrm>
              <a:off x="2835235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B2F242C-0170-D64E-8E82-215005D5337E}"/>
                </a:ext>
              </a:extLst>
            </p:cNvPr>
            <p:cNvCxnSpPr/>
            <p:nvPr/>
          </p:nvCxnSpPr>
          <p:spPr>
            <a:xfrm>
              <a:off x="2486682" y="1756252"/>
              <a:ext cx="66684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21F1B2A-9812-AD4D-A951-2E360DFA7E59}"/>
                </a:ext>
              </a:extLst>
            </p:cNvPr>
            <p:cNvCxnSpPr>
              <a:endCxn id="36" idx="1"/>
            </p:cNvCxnSpPr>
            <p:nvPr/>
          </p:nvCxnSpPr>
          <p:spPr>
            <a:xfrm flipV="1">
              <a:off x="2762956" y="1756252"/>
              <a:ext cx="72279" cy="1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A2FFFCDC-286F-B34B-B6F6-D9E63576F68B}"/>
                </a:ext>
              </a:extLst>
            </p:cNvPr>
            <p:cNvCxnSpPr>
              <a:stCxn id="36" idx="3"/>
            </p:cNvCxnSpPr>
            <p:nvPr/>
          </p:nvCxnSpPr>
          <p:spPr>
            <a:xfrm>
              <a:off x="2945757" y="1756252"/>
              <a:ext cx="6630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D1727EE2-F6C2-684B-BE69-9C64377379E5}"/>
                </a:ext>
              </a:extLst>
            </p:cNvPr>
            <p:cNvCxnSpPr>
              <a:stCxn id="30" idx="3"/>
              <a:endCxn id="52" idx="1"/>
            </p:cNvCxnSpPr>
            <p:nvPr/>
          </p:nvCxnSpPr>
          <p:spPr>
            <a:xfrm flipV="1">
              <a:off x="3214767" y="1756252"/>
              <a:ext cx="48342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5769B3A-8664-2840-85C8-D2629B7F15EE}"/>
                </a:ext>
              </a:extLst>
            </p:cNvPr>
            <p:cNvCxnSpPr>
              <a:stCxn id="36" idx="2"/>
              <a:endCxn id="34" idx="0"/>
            </p:cNvCxnSpPr>
            <p:nvPr/>
          </p:nvCxnSpPr>
          <p:spPr>
            <a:xfrm>
              <a:off x="2890496" y="1811513"/>
              <a:ext cx="0" cy="8137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>
              <a:extLst>
                <a:ext uri="{FF2B5EF4-FFF2-40B4-BE49-F238E27FC236}">
                  <a16:creationId xmlns:a16="http://schemas.microsoft.com/office/drawing/2014/main" id="{E7F83BC3-0983-F643-96C2-0AE6151DB56B}"/>
                </a:ext>
              </a:extLst>
            </p:cNvPr>
            <p:cNvCxnSpPr>
              <a:stCxn id="34" idx="3"/>
              <a:endCxn id="52" idx="2"/>
            </p:cNvCxnSpPr>
            <p:nvPr/>
          </p:nvCxnSpPr>
          <p:spPr>
            <a:xfrm flipV="1">
              <a:off x="2995291" y="1811513"/>
              <a:ext cx="323079" cy="138538"/>
            </a:xfrm>
            <a:prstGeom prst="bentConnector2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24E031F-07FE-3E4B-B822-5CB3FFC1CDC7}"/>
                </a:ext>
              </a:extLst>
            </p:cNvPr>
            <p:cNvCxnSpPr>
              <a:stCxn id="28" idx="0"/>
              <a:endCxn id="29" idx="2"/>
            </p:cNvCxnSpPr>
            <p:nvPr/>
          </p:nvCxnSpPr>
          <p:spPr>
            <a:xfrm flipH="1" flipV="1">
              <a:off x="2657275" y="1638994"/>
              <a:ext cx="886" cy="6009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Diamond 51">
              <a:extLst>
                <a:ext uri="{FF2B5EF4-FFF2-40B4-BE49-F238E27FC236}">
                  <a16:creationId xmlns:a16="http://schemas.microsoft.com/office/drawing/2014/main" id="{FDD0B5AD-C316-CD46-A870-18B98ABE0B55}"/>
                </a:ext>
              </a:extLst>
            </p:cNvPr>
            <p:cNvSpPr/>
            <p:nvPr/>
          </p:nvSpPr>
          <p:spPr>
            <a:xfrm>
              <a:off x="3263109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ACDA463-384E-9545-9414-E68AF29BB190}"/>
                </a:ext>
              </a:extLst>
            </p:cNvPr>
            <p:cNvCxnSpPr>
              <a:stCxn id="52" idx="3"/>
            </p:cNvCxnSpPr>
            <p:nvPr/>
          </p:nvCxnSpPr>
          <p:spPr>
            <a:xfrm>
              <a:off x="3373631" y="1756252"/>
              <a:ext cx="6747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5">
            <a:extLst>
              <a:ext uri="{FF2B5EF4-FFF2-40B4-BE49-F238E27FC236}">
                <a16:creationId xmlns:a16="http://schemas.microsoft.com/office/drawing/2014/main" id="{D29959CA-3209-D743-819C-503D419EA4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372" y="2029441"/>
            <a:ext cx="5791256" cy="362321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">
            <a:extLst>
              <a:ext uri="{FF2B5EF4-FFF2-40B4-BE49-F238E27FC236}">
                <a16:creationId xmlns:a16="http://schemas.microsoft.com/office/drawing/2014/main" id="{DC7B20BB-30C5-C34B-AEA1-EF9F2449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373" y="2983341"/>
            <a:ext cx="4287692" cy="194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364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3ACD776-945A-11DE-08FF-19B9DBF8A88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BFAED9-DF52-35BD-41F0-942BBF41A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DevO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B1EDEC-C674-E27D-3347-05FB21F4E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6E88BB-07B3-49F7-4248-39DE0B7746C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F98C41-745E-AAE3-E78F-8F386DD618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583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58" y="2181860"/>
            <a:ext cx="4452172" cy="2767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77CD440-3F0A-CDB8-0599-5480C014F925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Ø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lexible Development Process</a:t>
            </a:r>
          </a:p>
          <a:p>
            <a:pPr lvl="1">
              <a:buNone/>
            </a:pPr>
            <a:endParaRPr lang="en-GB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de Quality Check </a:t>
            </a:r>
          </a:p>
          <a:p>
            <a:pPr marL="577350" lvl="2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Automated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</a:t>
            </a: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esting</a:t>
            </a:r>
          </a:p>
          <a:p>
            <a:pPr marL="577350" lvl="2" indent="-285750">
              <a:buFont typeface="Wingdings" pitchFamily="2" charset="2"/>
              <a:buChar char="Ø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Delivery / Promotion Automation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Repeatabilit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3E360F5-98B8-5F15-8454-AF352BFC0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336" y="894490"/>
            <a:ext cx="6773330" cy="445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680896"/>
            <a:ext cx="11468100" cy="290513"/>
          </a:xfrm>
        </p:spPr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Platform &amp; Tool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Test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Automation</a:t>
            </a:r>
          </a:p>
          <a:p>
            <a:pPr marL="577350" lvl="2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/ Azure Test Plan</a:t>
            </a:r>
            <a:endParaRPr lang="en-GB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90C1C0B2-51E9-6537-E0F2-49379346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49" y="1684786"/>
            <a:ext cx="6879537" cy="3488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99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9" y="1387801"/>
            <a:ext cx="12032511" cy="373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Gw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06s4TYyvBPgOPDifRBx2gFAAAAAAADAAAAAAADAAAAAwADAAAAAAD///////8DAAAAAAD///////8DAAAAAAD///////8DAAAAAAD///////8DAAEA////////BAAAAAMAEAALPY26yFjSA0iGBKJwQmD3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06s4TYyvBPgOPDifRBx2gDRGF0YQAbAAAABExpbmtlZFNoYXBlRGF0YQAFAAAAAAACTmFtZQAZAAAATGlua2VkU2hhcGVzRGF0YVByb3BlcnR5ABBWZXJzaW9uAAAAAAAJTGFzdFdyaXRlAF8AnJSAAQAAAAEA/////8YAxgAAAAVfaWQAEAAAAAQ9jbrIWNIDSIYEonBCYPeiA0RhdGEAUwAAAAhQcmVzZW50YXRpb25TY2FubmVkRm9yTGlua2VkU2hhcGVzAAECTnVtYmVyRm9ybWF0U2VwYXJhdG9yTW9kZQAKAAAAQXV0b21hdGljAAACTmFtZQAkAAAATGlua2VkU2hhcGVQcmVzZW50YXRpb25TZXR0aW5nc0RhdGEAEFZlcnNpb24AAAAAAAlMYXN0V3JpdGUAmQCcl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e746a57e-2a84-4a0c-ae3d-5e0e53a112c1"/>
  <p:tag name="MIO_UPDATE" val="True"/>
  <p:tag name="MIO_DBID" val="0F45B44C-9BC7-4D85-81C4-7155EE70A7B9"/>
  <p:tag name="MIO_OBJECTNAME" val="Software AG - Starter Set"/>
  <p:tag name="MIO_FALLBACK_LAYOUT" val="5"/>
  <p:tag name="MIO_SHOW_DATE" val="Fals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16"/>
  <p:tag name="MIO_VERSION" val="24.06.2022 08:54:10"/>
  <p:tag name="MIO_LASTDOWNLOADED" val="11.07.2022 17:11:14.637"/>
  <p:tag name="MIO_CDID" val="9f882b0b-d1b4-48cb-bfe5-c5c56132e96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SSEDALLCHECKS" val="false"/>
  <p:tag name="SLIDEISALIGNED" val="fals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4447198-7953-4c78-ae98-8d695a13acff"/>
  <p:tag name="MIO_GUID" val="7ca84544-7eda-4eec-82c5-8cec7cd8967a"/>
  <p:tag name="MIO_UPDATE" val="True"/>
  <p:tag name="MIO_VERSION" val="16.02.2021 15:34:37"/>
  <p:tag name="MIO_DBID" val="0F45B44C-9BC7-4D85-81C4-7155EE70A7B9"/>
  <p:tag name="MIO_LASTDOWNLOADED" val="08.03.2022 14:30:15.453"/>
  <p:tag name="MIO_OBJECTNAME" val="Pulse-1"/>
  <p:tag name="MIO_LASTEDITORNAME" val="Luke Johns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6.36221"/>
  <p:tag name="LEFT" val="0"/>
  <p:tag name="WIDTH" val="359.9999"/>
  <p:tag name="HEIGHT" val="283.090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56.6286"/>
  <p:tag name="LEFT" val="17.11047"/>
  <p:tag name="WIDTH" val="317.4803"/>
  <p:tag name="HEIGHT" val="10.9054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1410df4-8ff8-4214-ad36-13c46f254289"/>
</p:tagLst>
</file>

<file path=ppt/theme/theme1.xml><?xml version="1.0" encoding="utf-8"?>
<a:theme xmlns:a="http://schemas.openxmlformats.org/drawingml/2006/main" name="Software AG 2022">
  <a:themeElements>
    <a:clrScheme name="Software AG 2022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2">
      <a:majorFont>
        <a:latin typeface="Segoe UI"/>
        <a:ea typeface="Segoe UI"/>
        <a:cs typeface="Segoe UI"/>
      </a:majorFont>
      <a:minorFont>
        <a:latin typeface="Segoe UI"/>
        <a:ea typeface="Segoe UI"/>
        <a:cs typeface="Segoe UI"/>
      </a:minorFont>
    </a:fontScheme>
    <a:fmtScheme name="Software AG 2022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2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E6E9EC"/>
    </a:custClr>
    <a:custClr name="SAG45">
      <a:srgbClr val="F5EEFE"/>
    </a:custClr>
    <a:custClr name="SAG46">
      <a:srgbClr val="ECF9F8"/>
    </a:custClr>
    <a:custClr name="SAG47">
      <a:srgbClr val="FBFDE9"/>
    </a:custClr>
    <a:custClr name="SAG48">
      <a:srgbClr val="EBEAEF"/>
    </a:custClr>
    <a:custClr name="SAG49">
      <a:srgbClr val="E8EEF0"/>
    </a:custClr>
    <a:custClr name="SAG50">
      <a:srgbClr val="FCE9EE"/>
    </a:custClr>
  </a:custClrLst>
  <a:extLst>
    <a:ext uri="{05A4C25C-085E-4340-85A3-A5531E510DB2}">
      <thm15:themeFamily xmlns:thm15="http://schemas.microsoft.com/office/thememl/2012/main" name="SAG" id="{81A187F2-36E6-4147-B20D-BEB810E4824E}" vid="{670117A1-D6D8-AC43-BED2-B18680E650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F007CB-4AC2-49F9-9F11-A3AE5E7EF1BA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88F4BA1-82F4-4573-BC6D-9427A949496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379AD00-36D3-4A36-A440-1B8967C7A83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e9ddd37-01c2-47a1-893c-5c0bdc1f6d39}" enabled="1" method="Privileged" siteId="{d9662eb9-ad98-4e74-a8a2-04ed5d544db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ftware AG 2022</Template>
  <TotalTime>27799</TotalTime>
  <Words>1586</Words>
  <Application>Microsoft Macintosh PowerPoint</Application>
  <PresentationFormat>Widescreen</PresentationFormat>
  <Paragraphs>329</Paragraphs>
  <Slides>24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Arial</vt:lpstr>
      <vt:lpstr>Calibri</vt:lpstr>
      <vt:lpstr>Courier New</vt:lpstr>
      <vt:lpstr>Helvetica Neue</vt:lpstr>
      <vt:lpstr>Inter</vt:lpstr>
      <vt:lpstr>Rubik</vt:lpstr>
      <vt:lpstr>Segoe UI</vt:lpstr>
      <vt:lpstr>Symbol</vt:lpstr>
      <vt:lpstr>Wingdings</vt:lpstr>
      <vt:lpstr>Software AG 2022</vt:lpstr>
      <vt:lpstr>DevOps 4 webMethods.io Integration</vt:lpstr>
      <vt:lpstr>DevOps 4 webMethods.io</vt:lpstr>
      <vt:lpstr>webMethods.io iPaaS</vt:lpstr>
      <vt:lpstr>webMethods.io Integration</vt:lpstr>
      <vt:lpstr>DevOps</vt:lpstr>
      <vt:lpstr>Requirement &amp; Benefits  </vt:lpstr>
      <vt:lpstr>Context</vt:lpstr>
      <vt:lpstr>Context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Show &amp; Tell / Demo</vt:lpstr>
      <vt:lpstr>Demo</vt:lpstr>
      <vt:lpstr>Demo</vt:lpstr>
      <vt:lpstr>What Next</vt:lpstr>
      <vt:lpstr>Next Steps</vt:lpstr>
      <vt:lpstr>Next Steps</vt:lpstr>
      <vt:lpstr>Referen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4 webMethods.io</dc:title>
  <dc:creator>Sabapathy, Srinivasan</dc:creator>
  <cp:lastModifiedBy>Sabapathy, Srinivasan</cp:lastModifiedBy>
  <cp:revision>46</cp:revision>
  <dcterms:created xsi:type="dcterms:W3CDTF">2023-02-04T12:12:00Z</dcterms:created>
  <dcterms:modified xsi:type="dcterms:W3CDTF">2023-10-12T07:0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Text">
    <vt:lpwstr>Classification: Internalㅤㅤㅤㅤ</vt:lpwstr>
  </property>
  <property fmtid="{D5CDD505-2E9C-101B-9397-08002B2CF9AE}" pid="3" name="TaxKeyword">
    <vt:lpwstr/>
  </property>
  <property fmtid="{D5CDD505-2E9C-101B-9397-08002B2CF9AE}" pid="4" name="ContentTypeId">
    <vt:lpwstr>0x010100C76A5F8EBBB9094588BD53A186E8CCF3</vt:lpwstr>
  </property>
</Properties>
</file>